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62" r:id="rId2"/>
    <p:sldId id="355" r:id="rId3"/>
    <p:sldId id="363" r:id="rId4"/>
    <p:sldId id="364" r:id="rId5"/>
    <p:sldId id="365" r:id="rId6"/>
    <p:sldId id="366" r:id="rId7"/>
    <p:sldId id="367" r:id="rId8"/>
    <p:sldId id="368" r:id="rId9"/>
  </p:sldIdLst>
  <p:sldSz cx="12192000" cy="6858000"/>
  <p:notesSz cx="9926638" cy="6797675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A316B"/>
    <a:srgbClr val="632523"/>
    <a:srgbClr val="F4F5F8"/>
    <a:srgbClr val="F5F6FA"/>
    <a:srgbClr val="FBFBFC"/>
    <a:srgbClr val="F9FAFC"/>
    <a:srgbClr val="642422"/>
    <a:srgbClr val="F6E6E6"/>
    <a:srgbClr val="E1A8A7"/>
    <a:srgbClr val="00808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1355" autoAdjust="0"/>
    <p:restoredTop sz="93837" autoAdjust="0"/>
  </p:normalViewPr>
  <p:slideViewPr>
    <p:cSldViewPr>
      <p:cViewPr varScale="1">
        <p:scale>
          <a:sx n="113" d="100"/>
          <a:sy n="113" d="100"/>
        </p:scale>
        <p:origin x="-636" y="-96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112" d="100"/>
          <a:sy n="112" d="100"/>
        </p:scale>
        <p:origin x="1350" y="96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51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fld id="{D378D184-1294-425B-AC9A-9364FA3AD611}" type="datetimeFigureOut">
              <a:rPr lang="ru-RU" smtClean="0"/>
              <a:pPr/>
              <a:t>27.05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51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2F95602C-F24C-4F4C-A6AF-BB82A849A7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8359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866B28-FE36-4EFB-8486-EB575153A94D}" type="datetimeFigureOut">
              <a:rPr lang="ru-RU" smtClean="0"/>
              <a:pPr/>
              <a:t>27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188" y="3228975"/>
            <a:ext cx="7942262" cy="30591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925" y="6456363"/>
            <a:ext cx="430212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72290A-E84F-412E-A8E5-23A5A34822B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809694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2">
    <p:bg>
      <p:bgPr>
        <a:blipFill dpi="0" rotWithShape="1">
          <a:blip r:embed="rId2">
            <a:alphaModFix amt="9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омер">
    <p:bg>
      <p:bgPr>
        <a:blipFill dpi="0" rotWithShape="1">
          <a:blip r:embed="rId2">
            <a:alphaModFix amt="9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14127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">
    <p:bg>
      <p:bgPr>
        <a:blipFill dpi="0" rotWithShape="1">
          <a:blip r:embed="rId2">
            <a:alphaModFix amt="99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5318102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689563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24410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xmlns="" val="234043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57" name="Слайд think-cell" r:id="rId11" imgW="360" imgH="3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6" r:id="rId2"/>
    <p:sldLayoutId id="2147483669" r:id="rId3"/>
    <p:sldLayoutId id="2147483664" r:id="rId4"/>
    <p:sldLayoutId id="2147483665" r:id="rId5"/>
    <p:sldLayoutId id="2147483668" r:id="rId6"/>
    <p:sldLayoutId id="2147483667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4822" name="Слайд think-cell" r:id="rId4" imgW="360" imgH="360" progId="">
              <p:embed/>
            </p:oleObj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0" y="2643187"/>
            <a:ext cx="12192000" cy="2145268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cap="all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щание</a:t>
            </a:r>
            <a:r>
              <a:rPr lang="ru-RU" sz="40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4000" b="1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руководителями профессиональных образовательных организаций</a:t>
            </a:r>
            <a:endParaRPr lang="ru-RU" sz="4000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10"/>
          <p:cNvSpPr txBox="1"/>
          <p:nvPr/>
        </p:nvSpPr>
        <p:spPr>
          <a:xfrm>
            <a:off x="304800" y="6096000"/>
            <a:ext cx="11582400" cy="473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ru-RU" sz="3000" spc="-10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7.05.2024</a:t>
            </a:r>
            <a:endParaRPr lang="ru-RU" sz="3000" i="1" spc="-10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2057400" y="838200"/>
            <a:ext cx="9372600" cy="5927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4400" b="0" i="0" u="sng">
                <a:solidFill>
                  <a:schemeClr val="tx1"/>
                </a:solidFill>
                <a:latin typeface="Calibri Light"/>
                <a:ea typeface="+mj-ea"/>
                <a:cs typeface="Calibri Light"/>
              </a:defRPr>
            </a:lvl1pPr>
          </a:lstStyle>
          <a:p>
            <a:r>
              <a:rPr lang="ru-RU" altLang="ru-RU" sz="2000" b="1" u="none" kern="0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ЕРСТВО ОБРАЗОВАНИЯ И НАУКИ </a:t>
            </a:r>
            <a:r>
              <a:rPr lang="ru-RU" altLang="ru-RU" sz="2000" b="1" u="none" kern="0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МОЛЕНСКОЙ ОБЛАСТИ</a:t>
            </a:r>
          </a:p>
        </p:txBody>
      </p:sp>
      <p:pic>
        <p:nvPicPr>
          <p:cNvPr id="9" name="Picture 2" descr="https://upload.wikimedia.org/wikipedia/commons/thumb/9/9e/Coat_of_arms_of_Smolensk_oblast.svg/1200px-Coat_of_arms_of_Smolensk_oblast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9600" y="228600"/>
            <a:ext cx="1301226" cy="1421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76591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1105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6729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" y="0"/>
            <a:ext cx="12182475" cy="6882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374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9050" y="19050"/>
            <a:ext cx="1223010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64004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525" y="19050"/>
            <a:ext cx="1221105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66638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9050" y="19050"/>
            <a:ext cx="1223010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2439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" y="19050"/>
            <a:ext cx="1217295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14825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12211050" cy="68961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70889" y="152400"/>
            <a:ext cx="4495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1A31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de.firpo.ru/o/mp/CO/</a:t>
            </a:r>
            <a:endParaRPr lang="ru-RU" sz="2400" b="1" dirty="0">
              <a:solidFill>
                <a:srgbClr val="1A31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4879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90</TotalTime>
  <Words>17</Words>
  <Application>Microsoft Office PowerPoint</Application>
  <PresentationFormat>Произвольный</PresentationFormat>
  <Paragraphs>5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Office Them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Rasulov</dc:creator>
  <cp:lastModifiedBy>Профобучениеначальни</cp:lastModifiedBy>
  <cp:revision>471</cp:revision>
  <cp:lastPrinted>2024-03-13T07:46:25Z</cp:lastPrinted>
  <dcterms:created xsi:type="dcterms:W3CDTF">2022-05-04T08:38:25Z</dcterms:created>
  <dcterms:modified xsi:type="dcterms:W3CDTF">2024-05-27T09:3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3-15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2-05-04T00:00:00Z</vt:filetime>
  </property>
</Properties>
</file>